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Default Extension="svg" ContentType="image/svg+xml"/>
  <Override PartName="/ppt/charts/style2.xml" ContentType="application/vnd.ms-office.chartstyle+xml"/>
  <Override PartName="/ppt/charts/style1.xml" ContentType="application/vnd.ms-office.chartstyl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charts/colors2.xml" ContentType="application/vnd.ms-office.chartcolorstyl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charts/chartEx1.xml" ContentType="application/vnd.ms-office.chartex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sldIdLst>
    <p:sldId id="2053" r:id="rId5"/>
    <p:sldId id="2403" r:id="rId6"/>
    <p:sldId id="2175" r:id="rId7"/>
    <p:sldId id="2452" r:id="rId8"/>
    <p:sldId id="2115" r:id="rId9"/>
    <p:sldId id="2114" r:id="rId10"/>
    <p:sldId id="1071" r:id="rId1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45" userDrawn="1">
          <p15:clr>
            <a:srgbClr val="A4A3A4"/>
          </p15:clr>
        </p15:guide>
        <p15:guide id="2" pos="778" userDrawn="1">
          <p15:clr>
            <a:srgbClr val="A4A3A4"/>
          </p15:clr>
        </p15:guide>
        <p15:guide id="3" pos="45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6D6E71"/>
    <a:srgbClr val="FFFC00"/>
    <a:srgbClr val="F2F337"/>
    <a:srgbClr val="404040"/>
    <a:srgbClr val="909090"/>
    <a:srgbClr val="B6B8B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-96" y="-576"/>
      </p:cViewPr>
      <p:guideLst>
        <p:guide orient="horz" pos="3045"/>
        <p:guide pos="778"/>
        <p:guide pos="45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1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16593912397921312"/>
          <c:y val="0.20645157923303339"/>
          <c:w val="0.83406087602078693"/>
          <c:h val="0.7329133874705132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spPr>
              <a:solidFill>
                <a:srgbClr val="FFF2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633-472A-921E-17A17F06BBD1}"/>
              </c:ext>
            </c:extLst>
          </c:dPt>
          <c:dPt>
            <c:idx val="1"/>
            <c:spPr>
              <a:solidFill>
                <a:srgbClr val="63666A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633-472A-921E-17A17F06BBD1}"/>
              </c:ext>
            </c:extLst>
          </c:dPt>
          <c:cat>
            <c:strRef>
              <c:f>Лист1!$A$2:$A$3</c:f>
              <c:strCache>
                <c:ptCount val="2"/>
                <c:pt idx="0">
                  <c:v>готовые линии</c:v>
                </c:pt>
                <c:pt idx="1">
                  <c:v>неготовы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</c:v>
                </c:pt>
                <c:pt idx="1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633-472A-921E-17A17F06BBD1}"/>
            </c:ext>
          </c:extLst>
        </c:ser>
        <c:dLbls/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1!$A$2:$A$7</cx:f>
        <cx:lvl ptCount="6">
          <cx:pt idx="0">всего</cx:pt>
          <cx:pt idx="1">подключено к ГИС</cx:pt>
          <cx:pt idx="2">договор</cx:pt>
          <cx:pt idx="3">готовы</cx:pt>
          <cx:pt idx="4">карточки</cx:pt>
        </cx:lvl>
      </cx:strDim>
      <cx:numDim type="val">
        <cx:f>Лист1!$B$2:$B$7</cx:f>
        <cx:lvl ptCount="6" formatCode="Основной">
          <cx:pt idx="0">48</cx:pt>
          <cx:pt idx="1">48</cx:pt>
          <cx:pt idx="2">45</cx:pt>
          <cx:pt idx="3">30</cx:pt>
          <cx:pt idx="4">5</cx:pt>
        </cx:lvl>
      </cx:numDim>
    </cx:data>
  </cx:chartData>
  <cx:chart>
    <cx:plotArea>
      <cx:plotAreaRegion>
        <cx:series layoutId="funnel" uniqueId="{056AAECD-F68C-4684-97B5-CDFBB60A535E}">
          <cx:tx>
            <cx:txData>
              <cx:f>Лист1!$B$1</cx:f>
              <cx:v>Ряд 1</cx:v>
            </cx:txData>
          </cx:tx>
          <cx:spPr>
            <a:solidFill>
              <a:srgbClr val="767171"/>
            </a:solidFill>
          </cx:spPr>
          <cx:dataPt idx="0">
            <cx:spPr>
              <a:solidFill>
                <a:srgbClr val="63666A"/>
              </a:solidFill>
            </cx:spPr>
          </cx:dataPt>
          <cx:dataPt idx="1">
            <cx:spPr>
              <a:solidFill>
                <a:srgbClr val="717479"/>
              </a:solidFill>
            </cx:spPr>
          </cx:dataPt>
          <cx:dataPt idx="2">
            <cx:spPr>
              <a:solidFill>
                <a:srgbClr val="8A8D92"/>
              </a:solidFill>
            </cx:spPr>
          </cx:dataPt>
          <cx:dataPt idx="3">
            <cx:spPr>
              <a:solidFill>
                <a:srgbClr val="95989D"/>
              </a:solidFill>
            </cx:spPr>
          </cx:dataPt>
          <cx:dataPt idx="4">
            <cx:spPr>
              <a:solidFill>
                <a:srgbClr val="D0CECE"/>
              </a:solidFill>
            </cx:spPr>
          </cx:dataPt>
          <cx:dataPt idx="5">
            <cx:spPr>
              <a:solidFill>
                <a:srgbClr val="D0CECE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>
                    <a:solidFill>
                      <a:schemeClr val="bg1"/>
                    </a:solidFill>
                  </a:defRPr>
                </a:pPr>
                <a:endParaRPr lang="ru-RU" sz="1600" b="0" i="0" u="none" strike="noStrike" baseline="0">
                  <a:solidFill>
                    <a:schemeClr val="bg1"/>
                  </a:solidFill>
                  <a:latin typeface="Calibri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600" b="0" i="0" u="none" strike="noStrike" baseline="0">
                      <a:solidFill>
                        <a:schemeClr val="bg1"/>
                      </a:solidFill>
                      <a:latin typeface="Calibri"/>
                    </a:rPr>
                    <a:t>48</a:t>
                  </a:r>
                </a:p>
              </cx:txPr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600" b="0" i="0" u="none" strike="noStrike" baseline="0">
                      <a:solidFill>
                        <a:schemeClr val="bg1"/>
                      </a:solidFill>
                      <a:latin typeface="Calibri"/>
                    </a:rPr>
                    <a:t>48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600" b="0" i="0" u="none" strike="noStrike" baseline="0">
                      <a:solidFill>
                        <a:schemeClr val="bg1"/>
                      </a:solidFill>
                      <a:latin typeface="Calibri"/>
                    </a:rPr>
                    <a:t>45</a:t>
                  </a:r>
                </a:p>
              </cx:txPr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ru-RU" sz="1600" b="0" i="0" u="none" strike="noStrike" baseline="0">
                      <a:solidFill>
                        <a:schemeClr val="tx1"/>
                      </a:solidFill>
                      <a:latin typeface="Calibri"/>
                    </a:rPr>
                    <a:t>5</a:t>
                  </a:r>
                </a:p>
              </cx:txPr>
            </cx:dataLabel>
          </cx:dataLabels>
          <cx:dataId val="0"/>
        </cx:series>
      </cx:plotAreaRegion>
      <cx:axis id="0" hidden="1">
        <cx:catScaling gapWidth="0.0599999987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31E54-531C-4729-A4EB-5D91EF3E7EA3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293E81-E0E1-4106-89F5-189013B8B5B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38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1148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F63537B-5415-2860-8195-315A1CFD0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ADCAE678-422F-10FB-B694-9786224A36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F4D9776-3579-F0D8-2F58-A4AA3ED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B1182D9-4679-8405-6BE0-3B5FB8632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AF69E44-CF8C-AEB2-3285-ADECD4E9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997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415ABC0-2C7E-806B-CD3C-B91B0AD7F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CB02D26F-7188-A186-A068-EB6BFEA1D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66832A9-890F-879E-D58E-32B35B9CA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20FE07C-DF90-9331-30C9-8BEB644B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8A3459E-35E0-3195-8441-6471E530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54376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71F409CE-9720-C73D-5ABC-44F8DEAF98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D2CF391-81AB-D8DE-AF2C-6CCAE1158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26B9A8D-DA61-127C-5447-1A3B93B9B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3422CC6-D7BF-C23E-0F5E-83EDED61A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CA3768B-5E5A-5D1D-125C-6909EE02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382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14E41E6-5C44-9E8C-39AF-E94A2F71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43153EC-5977-3B65-931A-CCF033B7C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1F082FD-0DB1-7541-1148-E15D4ADBD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116694C-DC52-BBE5-7BA3-8759E02A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CEB5411-FC23-0432-FBFE-257B2C14F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530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36453EA-02D4-2A13-3FBB-DC7E0B0DB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171B08C5-7DD2-E916-C0F2-7B69BB6FA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8F99A81-5660-82A0-2E60-BBEF9F7B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E13B769-C4C6-AA0F-6A83-506BA422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3F1EEFC-4474-4D64-CB50-C079BB4EB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0486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8CB1D18-D0D3-B111-DE15-977970E87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8D4FAB9-BCA3-F617-AEA5-8E7052F0B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F154C300-A807-CAAC-E100-D4654A89C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F1E2A08-3958-AE84-88B8-7F4C17F11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B4F2F36-04A5-CAE0-1248-8A13BBF2D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F69AA1E-4C53-E73B-6D2F-C87501CB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27400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9E1A67F-8528-3E98-CF18-E7CD56BC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CF25B4-53C3-0ACD-A474-48B2046E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8AEDA80-022D-D78E-F7A3-3130188290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48B5AF17-AF0A-BF2D-DE91-FB04C881EB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174C2A5-E022-4C29-C231-3749417D4C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457FA89-BC49-605A-42F3-50BC1F12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219AB85C-8893-5C0F-377F-2D596744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985FD7C5-5046-7844-83D9-4A9AB3FB3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32291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A9B1257-97BC-C1F8-9F67-F76816AC0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CC4A614-5699-5147-0E68-84ABBB86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24585E5-E31C-0680-94C9-18975ED76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6F3AA70B-BE7A-CBA8-751C-EA2EC243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4440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E8EA2314-C22C-8260-681F-06AACF96C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50351693-8FFF-A7D8-5E18-6686E78A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546A6D7-1F91-FF33-C5D1-490F356C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101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65F8D21-CB3C-4FEC-CAE6-45311B17E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22FA38E-0664-92D2-CFC5-D383234A0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13575A8-B975-7562-E484-35250C63C8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0563872-046A-599C-CAB4-B1BBFAA1A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5EF6953-AE6D-B9D2-D126-AD4432DE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AECBF9A-D0C1-C07A-CA20-A3A04B53D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40686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334BFC-1E2C-768F-A4FA-0EA777C38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8D07CE2F-5589-A8A9-A75B-734D267963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A1BD02F0-AA54-0EE4-C272-22778090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4B872D1-6BE2-82C6-0223-EFF621E5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D89254-6CC6-FA86-9D6A-5F6F44EA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A8E27FB-0EB6-6DDA-A5A4-65B8D9F2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0437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062EE72-1C58-0189-0FA5-C3515A1F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6CF3926-29A1-13D7-0EB7-9E750C0B0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57A8730-2536-8492-E612-106FD518B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A664895-FA05-913D-B7F5-B797F2824A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F25C22B-8EF9-C680-F35B-F9ED528C3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48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5.svg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F1EABD4-DD09-3217-9C0F-DF2F96E1188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" r="16254" b="7917"/>
          <a:stretch/>
        </p:blipFill>
        <p:spPr>
          <a:xfrm>
            <a:off x="2827932" y="1"/>
            <a:ext cx="9364068" cy="6867940"/>
          </a:xfrm>
          <a:prstGeom prst="rect">
            <a:avLst/>
          </a:prstGeom>
        </p:spPr>
      </p:pic>
      <p:sp>
        <p:nvSpPr>
          <p:cNvPr id="9" name="Прямоугольник 17">
            <a:extLst>
              <a:ext uri="{FF2B5EF4-FFF2-40B4-BE49-F238E27FC236}">
                <a16:creationId xmlns:a16="http://schemas.microsoft.com/office/drawing/2014/main" xmlns="" id="{A260C6DF-AAFC-7D43-AA78-8A2DD60FEA1C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xmlns="" id="{B667D742-CDCF-4DDA-891A-A595009146E3}"/>
              </a:ext>
            </a:extLst>
          </p:cNvPr>
          <p:cNvSpPr txBox="1">
            <a:spLocks/>
          </p:cNvSpPr>
          <p:nvPr/>
        </p:nvSpPr>
        <p:spPr>
          <a:xfrm>
            <a:off x="528242" y="2962740"/>
            <a:ext cx="5183963" cy="415891"/>
          </a:xfrm>
          <a:prstGeom prst="rect">
            <a:avLst/>
          </a:prstGeom>
        </p:spPr>
        <p:txBody>
          <a:bodyPr vert="horz" lIns="100796" tIns="50398" rIns="100796" bIns="5039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0">
                <a:solidFill>
                  <a:schemeClr val="bg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упакованной воды</a:t>
            </a:r>
            <a:endParaRPr lang="ru-RU" sz="2800" b="0">
              <a:solidFill>
                <a:srgbClr val="FFFFFF"/>
              </a:solidFill>
              <a:latin typeface="PT Sans Regular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xmlns="" id="{1BDF70C0-F793-C9A5-9F9F-C411A78D1CFC}"/>
              </a:ext>
            </a:extLst>
          </p:cNvPr>
          <p:cNvSpPr/>
          <p:nvPr/>
        </p:nvSpPr>
        <p:spPr>
          <a:xfrm>
            <a:off x="1014379" y="4474483"/>
            <a:ext cx="1710797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25769"/>
            <a:r>
              <a:rPr lang="ru-RU" sz="2400" dirty="0">
                <a:solidFill>
                  <a:schemeClr val="bg1"/>
                </a:solidFill>
                <a:latin typeface="PT Sans Regular"/>
                <a:cs typeface="Segoe UI"/>
              </a:rPr>
              <a:t>26.05.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4D6F709-0146-9461-16E9-7141B5A7803F}"/>
              </a:ext>
            </a:extLst>
          </p:cNvPr>
          <p:cNvSpPr txBox="1"/>
          <p:nvPr/>
        </p:nvSpPr>
        <p:spPr>
          <a:xfrm>
            <a:off x="529350" y="1699433"/>
            <a:ext cx="4648825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ТАТУС ПРОЕКТА ПО МАРКИРОВКЕ </a:t>
            </a:r>
            <a:endParaRPr lang="ru-RU" sz="4000" dirty="0">
              <a:latin typeface="PT Sans Bold" panose="020B0703020203020204" pitchFamily="34" charset="-52"/>
              <a:ea typeface="PT Sans Bold" panose="020B0703020203020204" pitchFamily="34" charset="-52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A6119B1-CDE0-87D9-080D-260FD64D4E7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27063" y="5397292"/>
            <a:ext cx="4322172" cy="808617"/>
          </a:xfrm>
          <a:prstGeom prst="rect">
            <a:avLst/>
          </a:prstGeom>
        </p:spPr>
      </p:pic>
      <p:pic>
        <p:nvPicPr>
          <p:cNvPr id="10" name="Рисунок 9" descr="Ежедневник со сплошной заливкой">
            <a:extLst>
              <a:ext uri="{FF2B5EF4-FFF2-40B4-BE49-F238E27FC236}">
                <a16:creationId xmlns:a16="http://schemas.microsoft.com/office/drawing/2014/main" xmlns="" id="{7B250E1F-D6F5-13C9-C758-FA5994D0C51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9437" y="4425129"/>
            <a:ext cx="415891" cy="415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29708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52D939B-ABC7-4D39-7F1F-ADE68C70E63D}"/>
              </a:ext>
            </a:extLst>
          </p:cNvPr>
          <p:cNvSpPr txBox="1"/>
          <p:nvPr/>
        </p:nvSpPr>
        <p:spPr>
          <a:xfrm>
            <a:off x="836989" y="289570"/>
            <a:ext cx="10773529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ВОДЫ В ГИС МТ</a:t>
            </a:r>
          </a:p>
          <a:p>
            <a:pPr>
              <a:lnSpc>
                <a:spcPct val="80000"/>
              </a:lnSpc>
            </a:pPr>
            <a:r>
              <a:rPr lang="ru-RU" sz="3000" dirty="0">
                <a:solidFill>
                  <a:schemeClr val="tx1">
                    <a:lumMod val="75000"/>
                  </a:schemeClr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 федеральным округам</a:t>
            </a: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xmlns="" id="{5C45AD58-2857-B833-20E0-34339D09C436}"/>
              </a:ext>
            </a:extLst>
          </p:cNvPr>
          <p:cNvGraphicFramePr>
            <a:graphicFrameLocks noGrp="1"/>
          </p:cNvGraphicFramePr>
          <p:nvPr/>
        </p:nvGraphicFramePr>
        <p:xfrm>
          <a:off x="878806" y="1337822"/>
          <a:ext cx="10689894" cy="47046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450075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2282062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3079696">
                  <a:extLst>
                    <a:ext uri="{9D8B030D-6E8A-4147-A177-3AD203B41FA5}">
                      <a16:colId xmlns:a16="http://schemas.microsoft.com/office/drawing/2014/main" xmlns="" val="9885625"/>
                    </a:ext>
                  </a:extLst>
                </a:gridCol>
                <a:gridCol w="2878061">
                  <a:extLst>
                    <a:ext uri="{9D8B030D-6E8A-4147-A177-3AD203B41FA5}">
                      <a16:colId xmlns:a16="http://schemas.microsoft.com/office/drawing/2014/main" xmlns="" val="132327612"/>
                    </a:ext>
                  </a:extLst>
                </a:gridCol>
              </a:tblGrid>
              <a:tr h="1370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Федеральный округ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З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 (+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% (+2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4281084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 (+4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% (+1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211215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 (+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% (+2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8876851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 (+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% (+2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40198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Ю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% (+9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% (+2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471517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7% (+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 (+8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% (+25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6995135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% (+6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 (+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3% (+22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291783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КФО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5% (+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1% (+11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2% (+27%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7304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57588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ECFDB209-DE96-A4B3-6030-C4332E248903}"/>
              </a:ext>
            </a:extLst>
          </p:cNvPr>
          <p:cNvSpPr/>
          <p:nvPr/>
        </p:nvSpPr>
        <p:spPr>
          <a:xfrm>
            <a:off x="8739418" y="2382579"/>
            <a:ext cx="3363913" cy="2092841"/>
          </a:xfrm>
          <a:prstGeom prst="rect">
            <a:avLst/>
          </a:prstGeom>
          <a:solidFill>
            <a:srgbClr val="F6F5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7ABC6AD-2674-245B-9F93-6BB177A0474A}"/>
              </a:ext>
            </a:extLst>
          </p:cNvPr>
          <p:cNvSpPr txBox="1"/>
          <p:nvPr/>
        </p:nvSpPr>
        <p:spPr>
          <a:xfrm>
            <a:off x="878807" y="271386"/>
            <a:ext cx="1077352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ВОДЫ В ГИС МТ</a:t>
            </a:r>
          </a:p>
        </p:txBody>
      </p:sp>
      <p:graphicFrame>
        <p:nvGraphicFramePr>
          <p:cNvPr id="12" name="Таблица 4">
            <a:extLst>
              <a:ext uri="{FF2B5EF4-FFF2-40B4-BE49-F238E27FC236}">
                <a16:creationId xmlns:a16="http://schemas.microsoft.com/office/drawing/2014/main" xmlns="" id="{7A7CF1B1-292A-E69C-8FAE-18666F48CC57}"/>
              </a:ext>
            </a:extLst>
          </p:cNvPr>
          <p:cNvGraphicFramePr>
            <a:graphicFrameLocks noGrp="1"/>
          </p:cNvGraphicFramePr>
          <p:nvPr/>
        </p:nvGraphicFramePr>
        <p:xfrm>
          <a:off x="923069" y="1318928"/>
          <a:ext cx="7626730" cy="487371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284688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1584432">
                  <a:extLst>
                    <a:ext uri="{9D8B030D-6E8A-4147-A177-3AD203B41FA5}">
                      <a16:colId xmlns:a16="http://schemas.microsoft.com/office/drawing/2014/main" xmlns="" val="654941387"/>
                    </a:ext>
                  </a:extLst>
                </a:gridCol>
                <a:gridCol w="1534275">
                  <a:extLst>
                    <a:ext uri="{9D8B030D-6E8A-4147-A177-3AD203B41FA5}">
                      <a16:colId xmlns:a16="http://schemas.microsoft.com/office/drawing/2014/main" xmlns="" val="672035966"/>
                    </a:ext>
                  </a:extLst>
                </a:gridCol>
                <a:gridCol w="1148353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1074982">
                  <a:extLst>
                    <a:ext uri="{9D8B030D-6E8A-4147-A177-3AD203B41FA5}">
                      <a16:colId xmlns:a16="http://schemas.microsoft.com/office/drawing/2014/main" xmlns="" val="3316737115"/>
                    </a:ext>
                  </a:extLst>
                </a:gridCol>
              </a:tblGrid>
              <a:tr h="9086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Субъект Российской Федерации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Получен ответ на письмо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 от 20.03.2023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№ 26554/28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76114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3583681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7512173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6340317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аха (Якутия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230526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3257348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9376937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Астраха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1478721"/>
                  </a:ext>
                </a:extLst>
              </a:tr>
              <a:tr h="458739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35060141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раснодарский край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2470331"/>
                  </a:ext>
                </a:extLst>
              </a:tr>
              <a:tr h="331218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555607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6B0186C-72E9-403D-AB36-B7C9744F0C5E}"/>
              </a:ext>
            </a:extLst>
          </p:cNvPr>
          <p:cNvSpPr txBox="1"/>
          <p:nvPr/>
        </p:nvSpPr>
        <p:spPr>
          <a:xfrm>
            <a:off x="9509281" y="2788599"/>
            <a:ext cx="1722925" cy="773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5400" dirty="0"/>
              <a:t>57</a:t>
            </a:r>
            <a:endParaRPr lang="ru-RU" sz="5400" b="0" dirty="0"/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xmlns="" id="{2FAE6D47-D0EB-E71F-39C1-B26AD8E3598C}"/>
              </a:ext>
            </a:extLst>
          </p:cNvPr>
          <p:cNvSpPr txBox="1"/>
          <p:nvPr/>
        </p:nvSpPr>
        <p:spPr>
          <a:xfrm>
            <a:off x="9013568" y="3429000"/>
            <a:ext cx="2784956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Регионов направили ответ на письмо Минпромторга России</a:t>
            </a:r>
            <a:b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</a:b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от 20.03.2023 № 26554/2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ED0F39F-2C1D-8025-DDB2-E49330CF7EFC}"/>
              </a:ext>
            </a:extLst>
          </p:cNvPr>
          <p:cNvSpPr txBox="1"/>
          <p:nvPr/>
        </p:nvSpPr>
        <p:spPr>
          <a:xfrm>
            <a:off x="878806" y="758029"/>
            <a:ext cx="7305073" cy="319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j-lt"/>
                <a:cs typeface="Segoe UI" panose="020B0502040204020203" pitchFamily="34" charset="0"/>
              </a:rPr>
              <a:t>ТОП регионов с самой низкой долей подключения розничного звена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279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36E216CB-F97F-5AAD-CA21-F3F8F8F7BE7E}"/>
              </a:ext>
            </a:extLst>
          </p:cNvPr>
          <p:cNvSpPr txBox="1"/>
          <p:nvPr/>
        </p:nvSpPr>
        <p:spPr>
          <a:xfrm>
            <a:off x="7942216" y="1056759"/>
            <a:ext cx="415731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800" b="1" i="0" u="none" strike="noStrike" kern="1200" cap="none" spc="0" normalizeH="0" baseline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defRPr>
            </a:pPr>
            <a:r>
              <a:rPr kumimoji="0" lang="ru-RU" sz="2100" b="1" i="0" u="none" strike="noStrike" kern="1200" cap="none" spc="0" normalizeH="0" baseline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ДОРОЖНАЯ КАРТА ПЛАНИРУЕМОГО ВНЕДРЕНИЯ*</a:t>
            </a:r>
            <a:endParaRPr lang="ru-RU" sz="2100" b="1" dirty="0">
              <a:solidFill>
                <a:prstClr val="black">
                  <a:lumMod val="75000"/>
                  <a:lumOff val="25000"/>
                </a:prstClr>
              </a:solidFill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5A430F76-D92E-17C2-B546-33E6FBFBB3C4}"/>
              </a:ext>
            </a:extLst>
          </p:cNvPr>
          <p:cNvSpPr txBox="1"/>
          <p:nvPr/>
        </p:nvSpPr>
        <p:spPr>
          <a:xfrm>
            <a:off x="506489" y="458506"/>
            <a:ext cx="8113529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СТАТУС </a:t>
            </a:r>
            <a:r>
              <a:rPr lang="ru-RU" sz="3200" dirty="0">
                <a:solidFill>
                  <a:srgbClr val="404040"/>
                </a:solidFill>
              </a:rPr>
              <a:t>ГОТОВНОСТИ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 УОТ ДЕТСКОЙ ВОДЫ </a:t>
            </a:r>
          </a:p>
        </p:txBody>
      </p:sp>
      <p:sp>
        <p:nvSpPr>
          <p:cNvPr id="27" name="Прямоугольник 45">
            <a:extLst>
              <a:ext uri="{FF2B5EF4-FFF2-40B4-BE49-F238E27FC236}">
                <a16:creationId xmlns:a16="http://schemas.microsoft.com/office/drawing/2014/main" xmlns="" id="{26C024D9-9865-207F-3BB2-E108F7EF0720}"/>
              </a:ext>
            </a:extLst>
          </p:cNvPr>
          <p:cNvSpPr/>
          <p:nvPr/>
        </p:nvSpPr>
        <p:spPr>
          <a:xfrm>
            <a:off x="4054748" y="2118028"/>
            <a:ext cx="2684804" cy="3094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ЛАНИРУЕМОЕ КОЛИЧЕСТВО</a:t>
            </a:r>
          </a:p>
        </p:txBody>
      </p:sp>
      <p:sp>
        <p:nvSpPr>
          <p:cNvPr id="28" name="Прямоугольник 45">
            <a:extLst>
              <a:ext uri="{FF2B5EF4-FFF2-40B4-BE49-F238E27FC236}">
                <a16:creationId xmlns:a16="http://schemas.microsoft.com/office/drawing/2014/main" xmlns="" id="{AFC5580D-1A74-3A85-FA9E-A9D6EA2DD349}"/>
              </a:ext>
            </a:extLst>
          </p:cNvPr>
          <p:cNvSpPr/>
          <p:nvPr/>
        </p:nvSpPr>
        <p:spPr>
          <a:xfrm>
            <a:off x="4052588" y="2839487"/>
            <a:ext cx="2213700" cy="3094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ОДКЛЮЧЕНО К ГИС МТ</a:t>
            </a:r>
          </a:p>
        </p:txBody>
      </p:sp>
      <p:sp>
        <p:nvSpPr>
          <p:cNvPr id="29" name="Прямоугольник 45">
            <a:extLst>
              <a:ext uri="{FF2B5EF4-FFF2-40B4-BE49-F238E27FC236}">
                <a16:creationId xmlns:a16="http://schemas.microsoft.com/office/drawing/2014/main" xmlns="" id="{546C869D-A604-0E94-DB2A-61E2028BA13B}"/>
              </a:ext>
            </a:extLst>
          </p:cNvPr>
          <p:cNvSpPr/>
          <p:nvPr/>
        </p:nvSpPr>
        <p:spPr>
          <a:xfrm>
            <a:off x="4043419" y="4975791"/>
            <a:ext cx="2684804" cy="3094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ИСАЛИ КАРТОЧКИ ТОВАРОВ</a:t>
            </a:r>
            <a:endParaRPr lang="en-US" sz="1400" b="1" dirty="0">
              <a:solidFill>
                <a:srgbClr val="6D6E71"/>
              </a:solidFill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45">
            <a:extLst>
              <a:ext uri="{FF2B5EF4-FFF2-40B4-BE49-F238E27FC236}">
                <a16:creationId xmlns:a16="http://schemas.microsoft.com/office/drawing/2014/main" xmlns="" id="{ED64B217-84CB-C59F-10C2-374BBABFDA45}"/>
              </a:ext>
            </a:extLst>
          </p:cNvPr>
          <p:cNvSpPr/>
          <p:nvPr/>
        </p:nvSpPr>
        <p:spPr>
          <a:xfrm>
            <a:off x="4052588" y="3562051"/>
            <a:ext cx="3315200" cy="3094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ЛЮЧИЛИ ДОГОВОР С ОПЕРАТОРОМ</a:t>
            </a:r>
          </a:p>
        </p:txBody>
      </p:sp>
      <mc:AlternateContent xmlns:mc="http://schemas.openxmlformats.org/markup-compatibility/2006">
        <mc:Choice xmlns:cx2="http://schemas.microsoft.com/office/drawing/2015/10/21/chartex" xmlns="" Requires="cx2">
          <p:graphicFrame>
            <p:nvGraphicFramePr>
              <p:cNvPr id="32" name="Диаграмма 31">
                <a:extLst>
                  <a:ext uri="{FF2B5EF4-FFF2-40B4-BE49-F238E27FC236}">
                    <a16:creationId xmlns:a16="http://schemas.microsoft.com/office/drawing/2014/main" id="{FACAE2B8-7CD8-EA79-C665-185BDD1EBA2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757273293"/>
                  </p:ext>
                </p:extLst>
              </p:nvPr>
            </p:nvGraphicFramePr>
            <p:xfrm>
              <a:off x="513302" y="1849928"/>
              <a:ext cx="2954028" cy="4395247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2" name="Диаграмма 31">
                <a:extLst>
                  <a:ext uri="{FF2B5EF4-FFF2-40B4-BE49-F238E27FC236}">
                    <a16:creationId xmlns:a16="http://schemas.microsoft.com/office/drawing/2014/main" xmlns="" xmlns:cx2="http://schemas.microsoft.com/office/drawing/2015/10/21/chartex" id="{FACAE2B8-7CD8-EA79-C665-185BDD1EBA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302" y="1849928"/>
                <a:ext cx="2954028" cy="4395247"/>
              </a:xfrm>
              <a:prstGeom prst="rect">
                <a:avLst/>
              </a:prstGeom>
            </p:spPr>
          </p:pic>
        </mc:Fallback>
      </mc:AlternateContent>
      <p:sp>
        <p:nvSpPr>
          <p:cNvPr id="33" name="Прямоугольник 45">
            <a:extLst>
              <a:ext uri="{FF2B5EF4-FFF2-40B4-BE49-F238E27FC236}">
                <a16:creationId xmlns:a16="http://schemas.microsoft.com/office/drawing/2014/main" xmlns="" id="{A33AA81A-786A-B6E9-B418-FA420737F0BE}"/>
              </a:ext>
            </a:extLst>
          </p:cNvPr>
          <p:cNvSpPr/>
          <p:nvPr/>
        </p:nvSpPr>
        <p:spPr>
          <a:xfrm>
            <a:off x="4052943" y="4168611"/>
            <a:ext cx="2419779" cy="52489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ТЕХНИЧЕСКИ ГОТОВЫ </a:t>
            </a:r>
          </a:p>
          <a:p>
            <a:r>
              <a:rPr lang="ru-RU" sz="14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(ОСНАЩЕНЫ ЛИНИИ)</a:t>
            </a: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xmlns="" id="{DCA087CD-DD6B-7154-BBD1-9D0FD642CBCD}"/>
              </a:ext>
            </a:extLst>
          </p:cNvPr>
          <p:cNvCxnSpPr>
            <a:cxnSpLocks/>
          </p:cNvCxnSpPr>
          <p:nvPr/>
        </p:nvCxnSpPr>
        <p:spPr>
          <a:xfrm>
            <a:off x="3617247" y="2269986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xmlns="" id="{DB831B75-727F-16A5-5BE4-FFFE903B27C5}"/>
              </a:ext>
            </a:extLst>
          </p:cNvPr>
          <p:cNvCxnSpPr>
            <a:cxnSpLocks/>
          </p:cNvCxnSpPr>
          <p:nvPr/>
        </p:nvCxnSpPr>
        <p:spPr>
          <a:xfrm>
            <a:off x="3617247" y="2983077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xmlns="" id="{038C3C86-30B6-FD4F-19AE-4AB5B663DA57}"/>
              </a:ext>
            </a:extLst>
          </p:cNvPr>
          <p:cNvCxnSpPr>
            <a:cxnSpLocks/>
          </p:cNvCxnSpPr>
          <p:nvPr/>
        </p:nvCxnSpPr>
        <p:spPr>
          <a:xfrm>
            <a:off x="3617247" y="3685850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xmlns="" id="{11731B3E-53BA-EC8C-F569-67720315D68F}"/>
              </a:ext>
            </a:extLst>
          </p:cNvPr>
          <p:cNvCxnSpPr>
            <a:cxnSpLocks/>
          </p:cNvCxnSpPr>
          <p:nvPr/>
        </p:nvCxnSpPr>
        <p:spPr>
          <a:xfrm>
            <a:off x="3617247" y="4409750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66754EB2-7EDD-D9E9-4CDF-7D60EF7CE1FC}"/>
              </a:ext>
            </a:extLst>
          </p:cNvPr>
          <p:cNvCxnSpPr>
            <a:cxnSpLocks/>
          </p:cNvCxnSpPr>
          <p:nvPr/>
        </p:nvCxnSpPr>
        <p:spPr>
          <a:xfrm>
            <a:off x="3617247" y="5086025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Диаграмма 45">
            <a:extLst>
              <a:ext uri="{FF2B5EF4-FFF2-40B4-BE49-F238E27FC236}">
                <a16:creationId xmlns:a16="http://schemas.microsoft.com/office/drawing/2014/main" xmlns="" id="{F9277CDC-5CB2-D44A-8456-6806D60DD5D0}"/>
              </a:ext>
            </a:extLst>
          </p:cNvPr>
          <p:cNvGraphicFramePr/>
          <p:nvPr/>
        </p:nvGraphicFramePr>
        <p:xfrm>
          <a:off x="2821919" y="4011019"/>
          <a:ext cx="636972" cy="717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" name="Прямоугольник 33">
            <a:extLst>
              <a:ext uri="{FF2B5EF4-FFF2-40B4-BE49-F238E27FC236}">
                <a16:creationId xmlns:a16="http://schemas.microsoft.com/office/drawing/2014/main" xmlns="" id="{47D6B993-E0D2-C58E-144C-55AF45C539AC}"/>
              </a:ext>
            </a:extLst>
          </p:cNvPr>
          <p:cNvSpPr/>
          <p:nvPr/>
        </p:nvSpPr>
        <p:spPr>
          <a:xfrm>
            <a:off x="3063292" y="4349553"/>
            <a:ext cx="271523" cy="172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4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63</a:t>
            </a:r>
          </a:p>
        </p:txBody>
      </p:sp>
      <p:sp>
        <p:nvSpPr>
          <p:cNvPr id="48" name="Прямоугольник 33">
            <a:extLst>
              <a:ext uri="{FF2B5EF4-FFF2-40B4-BE49-F238E27FC236}">
                <a16:creationId xmlns:a16="http://schemas.microsoft.com/office/drawing/2014/main" xmlns="" id="{A4270BC5-9323-4D33-0070-5FDFC8C07465}"/>
              </a:ext>
            </a:extLst>
          </p:cNvPr>
          <p:cNvSpPr/>
          <p:nvPr/>
        </p:nvSpPr>
        <p:spPr>
          <a:xfrm>
            <a:off x="3272124" y="4360214"/>
            <a:ext cx="177988" cy="1001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8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%</a:t>
            </a:r>
          </a:p>
        </p:txBody>
      </p:sp>
      <p:sp>
        <p:nvSpPr>
          <p:cNvPr id="55" name="Овал 54">
            <a:extLst>
              <a:ext uri="{FF2B5EF4-FFF2-40B4-BE49-F238E27FC236}">
                <a16:creationId xmlns:a16="http://schemas.microsoft.com/office/drawing/2014/main" xmlns="" id="{90CA7866-AA3D-C79E-4A57-C91B2C42AD59}"/>
              </a:ext>
            </a:extLst>
          </p:cNvPr>
          <p:cNvSpPr/>
          <p:nvPr/>
        </p:nvSpPr>
        <p:spPr>
          <a:xfrm>
            <a:off x="8034726" y="2040834"/>
            <a:ext cx="456288" cy="456288"/>
          </a:xfrm>
          <a:prstGeom prst="ellipse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A46ED69F-7FDC-3E1A-9C9C-4D8D0B4F2AF3}"/>
              </a:ext>
            </a:extLst>
          </p:cNvPr>
          <p:cNvSpPr txBox="1"/>
          <p:nvPr/>
        </p:nvSpPr>
        <p:spPr>
          <a:xfrm>
            <a:off x="8527553" y="2051400"/>
            <a:ext cx="26185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 1 СЕНТЯБРЯ 2023</a:t>
            </a:r>
            <a:endParaRPr lang="x-none" sz="2000" b="1" dirty="0">
              <a:solidFill>
                <a:srgbClr val="404040"/>
              </a:solidFill>
              <a:latin typeface="PT Sans Bold" panose="020B0703020203020204" pitchFamily="34" charset="-52"/>
              <a:ea typeface="PT Sans Bold" panose="020B0703020203020204" pitchFamily="34" charset="-52"/>
              <a:cs typeface="Segoe UI" panose="020B0502040204020203" pitchFamily="34" charset="0"/>
            </a:endParaRPr>
          </a:p>
        </p:txBody>
      </p:sp>
      <p:pic>
        <p:nvPicPr>
          <p:cNvPr id="64" name="Picture 46">
            <a:extLst>
              <a:ext uri="{FF2B5EF4-FFF2-40B4-BE49-F238E27FC236}">
                <a16:creationId xmlns:a16="http://schemas.microsoft.com/office/drawing/2014/main" xmlns="" id="{5090798E-1E16-9393-4AAC-6F31490D65E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860024" y="2004295"/>
            <a:ext cx="492827" cy="492827"/>
          </a:xfrm>
          <a:prstGeom prst="rect">
            <a:avLst/>
          </a:prstGeom>
        </p:spPr>
      </p:pic>
      <p:sp>
        <p:nvSpPr>
          <p:cNvPr id="65" name="Rectangle 90">
            <a:extLst>
              <a:ext uri="{FF2B5EF4-FFF2-40B4-BE49-F238E27FC236}">
                <a16:creationId xmlns:a16="http://schemas.microsoft.com/office/drawing/2014/main" xmlns="" id="{3E4DAEB9-A882-A77E-482B-24C0B40EB137}"/>
              </a:ext>
            </a:extLst>
          </p:cNvPr>
          <p:cNvSpPr/>
          <p:nvPr/>
        </p:nvSpPr>
        <p:spPr>
          <a:xfrm>
            <a:off x="8527552" y="2523461"/>
            <a:ext cx="3151145" cy="5539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в системе маркировки и обязательная маркировка детской воды</a:t>
            </a:r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BA08DB88-D4A1-85E9-493F-F8D65663700B}"/>
              </a:ext>
            </a:extLst>
          </p:cNvPr>
          <p:cNvSpPr/>
          <p:nvPr/>
        </p:nvSpPr>
        <p:spPr>
          <a:xfrm>
            <a:off x="8034726" y="3341952"/>
            <a:ext cx="456288" cy="456288"/>
          </a:xfrm>
          <a:prstGeom prst="ellipse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A8CB7CCF-0976-0E77-2B61-B7DAA827316E}"/>
              </a:ext>
            </a:extLst>
          </p:cNvPr>
          <p:cNvSpPr txBox="1"/>
          <p:nvPr/>
        </p:nvSpPr>
        <p:spPr>
          <a:xfrm>
            <a:off x="8527553" y="3352518"/>
            <a:ext cx="26185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 1 МАРТА 2024</a:t>
            </a:r>
          </a:p>
        </p:txBody>
      </p:sp>
      <p:sp>
        <p:nvSpPr>
          <p:cNvPr id="69" name="Rectangle 90">
            <a:extLst>
              <a:ext uri="{FF2B5EF4-FFF2-40B4-BE49-F238E27FC236}">
                <a16:creationId xmlns:a16="http://schemas.microsoft.com/office/drawing/2014/main" xmlns="" id="{E45EFDB2-F70A-0022-C74E-E8A551BC4785}"/>
              </a:ext>
            </a:extLst>
          </p:cNvPr>
          <p:cNvSpPr/>
          <p:nvPr/>
        </p:nvSpPr>
        <p:spPr>
          <a:xfrm>
            <a:off x="8527552" y="3824579"/>
            <a:ext cx="2705645" cy="5539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дключение к ЭДО в ОСУ, подача сведений о выводе из оборота в ОСУ в систему маркировки</a:t>
            </a:r>
          </a:p>
        </p:txBody>
      </p:sp>
      <p:pic>
        <p:nvPicPr>
          <p:cNvPr id="70" name="Picture 44">
            <a:extLst>
              <a:ext uri="{FF2B5EF4-FFF2-40B4-BE49-F238E27FC236}">
                <a16:creationId xmlns:a16="http://schemas.microsoft.com/office/drawing/2014/main" xmlns="" id="{90E46E24-3F46-65B3-35A1-E4F17F1F775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827958" y="3291616"/>
            <a:ext cx="524894" cy="524894"/>
          </a:xfrm>
          <a:prstGeom prst="rect">
            <a:avLst/>
          </a:prstGeom>
        </p:spPr>
      </p:pic>
      <p:sp>
        <p:nvSpPr>
          <p:cNvPr id="71" name="Rectangle 90">
            <a:extLst>
              <a:ext uri="{FF2B5EF4-FFF2-40B4-BE49-F238E27FC236}">
                <a16:creationId xmlns:a16="http://schemas.microsoft.com/office/drawing/2014/main" xmlns="" id="{CB3EB626-567B-1A90-9C43-917C52F61282}"/>
              </a:ext>
            </a:extLst>
          </p:cNvPr>
          <p:cNvSpPr/>
          <p:nvPr/>
        </p:nvSpPr>
        <p:spPr>
          <a:xfrm>
            <a:off x="8527552" y="4468896"/>
            <a:ext cx="3287727" cy="369332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одажа маркированной продукции </a:t>
            </a:r>
            <a:endParaRPr lang="en-US" sz="12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через кассу с подачей сведений в ГИС МТ</a:t>
            </a: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xmlns="" id="{418AE011-F028-9022-E1E5-1CA0E05A09EA}"/>
              </a:ext>
            </a:extLst>
          </p:cNvPr>
          <p:cNvSpPr/>
          <p:nvPr/>
        </p:nvSpPr>
        <p:spPr>
          <a:xfrm>
            <a:off x="8034726" y="5165784"/>
            <a:ext cx="456288" cy="456288"/>
          </a:xfrm>
          <a:prstGeom prst="ellipse">
            <a:avLst/>
          </a:prstGeom>
          <a:solidFill>
            <a:srgbClr val="FFF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0DD0E2A8-F91A-9BB1-8AA1-CEC756AF4B35}"/>
              </a:ext>
            </a:extLst>
          </p:cNvPr>
          <p:cNvSpPr txBox="1"/>
          <p:nvPr/>
        </p:nvSpPr>
        <p:spPr>
          <a:xfrm>
            <a:off x="8527553" y="5176350"/>
            <a:ext cx="261855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404040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 1 МАРТА 202</a:t>
            </a:r>
            <a:r>
              <a:rPr lang="en-US" sz="2000" b="1" dirty="0">
                <a:solidFill>
                  <a:srgbClr val="404040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5</a:t>
            </a:r>
            <a:endParaRPr lang="ru-RU" sz="2000" b="1" dirty="0">
              <a:solidFill>
                <a:srgbClr val="404040"/>
              </a:solidFill>
              <a:latin typeface="PT Sans Bold" panose="020B0703020203020204" pitchFamily="34" charset="-52"/>
              <a:ea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74" name="Rectangle 90">
            <a:extLst>
              <a:ext uri="{FF2B5EF4-FFF2-40B4-BE49-F238E27FC236}">
                <a16:creationId xmlns:a16="http://schemas.microsoft.com/office/drawing/2014/main" xmlns="" id="{1B145D4D-580A-36C5-AC8A-19B1D6D80FEF}"/>
              </a:ext>
            </a:extLst>
          </p:cNvPr>
          <p:cNvSpPr/>
          <p:nvPr/>
        </p:nvSpPr>
        <p:spPr>
          <a:xfrm>
            <a:off x="8527551" y="5648410"/>
            <a:ext cx="3287729" cy="369332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ход на </a:t>
            </a:r>
            <a:r>
              <a:rPr lang="ru-RU" sz="1200" dirty="0" err="1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</a:t>
            </a:r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 учёт </a:t>
            </a:r>
            <a:endParaRPr lang="en-US" sz="12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при передаче данных в ГИС МТ</a:t>
            </a:r>
          </a:p>
        </p:txBody>
      </p:sp>
      <p:pic>
        <p:nvPicPr>
          <p:cNvPr id="75" name="Picture 44">
            <a:extLst>
              <a:ext uri="{FF2B5EF4-FFF2-40B4-BE49-F238E27FC236}">
                <a16:creationId xmlns:a16="http://schemas.microsoft.com/office/drawing/2014/main" xmlns="" id="{AF9219D4-32BB-C9C1-4CAB-FACC5A91423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827958" y="5115448"/>
            <a:ext cx="524894" cy="52489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36E216CB-F97F-5AAD-CA21-F3F8F8F7BE7E}"/>
              </a:ext>
            </a:extLst>
          </p:cNvPr>
          <p:cNvSpPr txBox="1"/>
          <p:nvPr/>
        </p:nvSpPr>
        <p:spPr>
          <a:xfrm>
            <a:off x="7860024" y="6386642"/>
            <a:ext cx="41573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1800" b="1" i="0" u="none" strike="noStrike" kern="1200" cap="none" spc="0" normalizeH="0" baseline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defRPr>
            </a:pPr>
            <a:r>
              <a:rPr lang="ru-RU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* Этапы указаны в соответствии с проектом постановления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942216" y="6315513"/>
            <a:ext cx="349657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1500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C1D0B9A8-1FC2-7275-5C32-575348F5193F}"/>
              </a:ext>
            </a:extLst>
          </p:cNvPr>
          <p:cNvSpPr/>
          <p:nvPr/>
        </p:nvSpPr>
        <p:spPr>
          <a:xfrm>
            <a:off x="-12090" y="0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4" name="Picture 29">
            <a:extLst>
              <a:ext uri="{FF2B5EF4-FFF2-40B4-BE49-F238E27FC236}">
                <a16:creationId xmlns:a16="http://schemas.microsoft.com/office/drawing/2014/main" xmlns="" id="{4B0CB3D7-D926-6700-4F29-6CB039CD9F3A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/>
        </p:blipFill>
        <p:spPr>
          <a:xfrm>
            <a:off x="5339918" y="1838325"/>
            <a:ext cx="3723765" cy="518503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437342" y="2073220"/>
            <a:ext cx="4977140" cy="2200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Участники вправе не применять контрольно-кассовую технику (ККТ) (Статья 2 п. 3 ФЗ 54).  Исключение, позволяющее не использовать ККТ в отдаленных и труднодоступных местностях, не распространяется на участников, использующих автоматическое</a:t>
            </a:r>
            <a:r>
              <a:rPr kumimoji="0" lang="ru-RU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устройство для расчетов, а такж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существляющих торговлю подакцизными товарами (пункт 8 ст. 2 54-ФЗ)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FD9591F-8658-D724-C5B4-E9E923335086}"/>
              </a:ext>
            </a:extLst>
          </p:cNvPr>
          <p:cNvSpPr txBox="1"/>
          <p:nvPr/>
        </p:nvSpPr>
        <p:spPr>
          <a:xfrm>
            <a:off x="6967878" y="2073220"/>
            <a:ext cx="4786781" cy="19366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363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Участники могут применять ККТ в режиме, не предусматривающем обязательной передачи фискальных документов в налоговые органы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363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 оператору маркировки в электронной форме через оператора фискальных данных  (ОФД) (Статья 2 п. 7 ФЗ 54), т.е. использовать «автономную» контрольно-кассовую технику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DA16C20-230B-A29B-3C6C-534E933386A3}"/>
              </a:ext>
            </a:extLst>
          </p:cNvPr>
          <p:cNvSpPr txBox="1"/>
          <p:nvPr/>
        </p:nvSpPr>
        <p:spPr>
          <a:xfrm>
            <a:off x="377600" y="997877"/>
            <a:ext cx="5555367" cy="790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ДАЛЕННЫЕ И ТРУДНОДОСТУПНЫЕ МЕСТНОСТ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FBB2364-5309-69A4-2E8A-02DCD09FBF3D}"/>
              </a:ext>
            </a:extLst>
          </p:cNvPr>
          <p:cNvSpPr txBox="1"/>
          <p:nvPr/>
        </p:nvSpPr>
        <p:spPr>
          <a:xfrm>
            <a:off x="437342" y="4556709"/>
            <a:ext cx="4710012" cy="14096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еречень отдаленных или труднодоступных местностей утверждается органом государственной власти Российской Федерации для каждого субъекта Российской</a:t>
            </a:r>
            <a:r>
              <a:rPr kumimoji="0" lang="ru-RU" sz="16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Ф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дерации и публикуется на его официальном сайте.  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661413A-E0AD-950E-5D56-F5E43734C6DB}"/>
              </a:ext>
            </a:extLst>
          </p:cNvPr>
          <p:cNvSpPr txBox="1"/>
          <p:nvPr/>
        </p:nvSpPr>
        <p:spPr>
          <a:xfrm>
            <a:off x="6967878" y="4556709"/>
            <a:ext cx="4468040" cy="1673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363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еречень отдаленных от сетей связи местностей утверждается органом государственной власти Российской Федерации для каждого субъекта </a:t>
            </a:r>
            <a:r>
              <a:rPr lang="ru-RU" sz="1600" dirty="0">
                <a:solidFill>
                  <a:srgbClr val="3636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ссийской Федераци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63634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и публикуется на его официальном сайте.  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0218C18-F2B9-3B74-B8ED-C32EA249D6B7}"/>
              </a:ext>
            </a:extLst>
          </p:cNvPr>
          <p:cNvSpPr txBox="1"/>
          <p:nvPr/>
        </p:nvSpPr>
        <p:spPr>
          <a:xfrm>
            <a:off x="6967878" y="997877"/>
            <a:ext cx="4612600" cy="790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ДАЛЕННЫЕ ОТ СЕТЕЙ СВЯЗИ МЕСТНОСТ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DB1DF7E-1B49-B0D6-9ED6-ACB43D3322EF}"/>
              </a:ext>
            </a:extLst>
          </p:cNvPr>
          <p:cNvSpPr txBox="1"/>
          <p:nvPr/>
        </p:nvSpPr>
        <p:spPr>
          <a:xfrm>
            <a:off x="358946" y="177554"/>
            <a:ext cx="57249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ОГЛАСНО ФЗ-54 ВЫДЕЛЯЕТСЯ ДВА ВИДА ОСОБЫХ МЕСТНОСТЕЙ:</a:t>
            </a:r>
          </a:p>
        </p:txBody>
      </p:sp>
      <p:sp>
        <p:nvSpPr>
          <p:cNvPr id="11" name="Номер слайда 4">
            <a:extLst>
              <a:ext uri="{FF2B5EF4-FFF2-40B4-BE49-F238E27FC236}">
                <a16:creationId xmlns:a16="http://schemas.microsoft.com/office/drawing/2014/main" xmlns="" id="{7E2AEC20-C31F-4500-80C0-F02FA7C24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79778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3CFA6-795A-48F0-AA11-CE4B17698FB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2396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4">
            <a:extLst>
              <a:ext uri="{FF2B5EF4-FFF2-40B4-BE49-F238E27FC236}">
                <a16:creationId xmlns:a16="http://schemas.microsoft.com/office/drawing/2014/main" xmlns="" id="{F164D22C-992A-6C01-767B-657DEC6348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4057650" cy="405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C6E1F736-2CCB-8856-F1F1-2C55BC1F8D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7973623"/>
              </p:ext>
            </p:extLst>
          </p:nvPr>
        </p:nvGraphicFramePr>
        <p:xfrm>
          <a:off x="688270" y="1301263"/>
          <a:ext cx="11096188" cy="5215536"/>
        </p:xfrm>
        <a:graphic>
          <a:graphicData uri="http://schemas.openxmlformats.org/drawingml/2006/table">
            <a:tbl>
              <a:tblPr/>
              <a:tblGrid>
                <a:gridCol w="4683830">
                  <a:extLst>
                    <a:ext uri="{9D8B030D-6E8A-4147-A177-3AD203B41FA5}">
                      <a16:colId xmlns:a16="http://schemas.microsoft.com/office/drawing/2014/main" xmlns="" val="511929807"/>
                    </a:ext>
                  </a:extLst>
                </a:gridCol>
                <a:gridCol w="6412358">
                  <a:extLst>
                    <a:ext uri="{9D8B030D-6E8A-4147-A177-3AD203B41FA5}">
                      <a16:colId xmlns:a16="http://schemas.microsoft.com/office/drawing/2014/main" xmlns="" val="3938416794"/>
                    </a:ext>
                  </a:extLst>
                </a:gridCol>
              </a:tblGrid>
              <a:tr h="461677">
                <a:tc rowSpan="2">
                  <a:txBody>
                    <a:bodyPr/>
                    <a:lstStyle/>
                    <a:p>
                      <a:pPr marL="144000" algn="l" rtl="0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ИЗВОДСТВО В отдаленных</a:t>
                      </a:r>
                      <a:b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 труднодоступных</a:t>
                      </a:r>
                      <a:r>
                        <a:rPr lang="ru-RU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тностя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000" algn="l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исание карточки товара – эмиссия </a:t>
                      </a: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дов маркировк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– отчет о нанесении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742563"/>
                  </a:ext>
                </a:extLst>
              </a:tr>
              <a:tr h="5142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000" lvl="0" algn="l" rtl="0" fontAlgn="b"/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вод в оборот в течение 30 календарных дней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1655379"/>
                  </a:ext>
                </a:extLst>
              </a:tr>
              <a:tr h="1002323">
                <a:tc>
                  <a:txBody>
                    <a:bodyPr/>
                    <a:lstStyle/>
                    <a:p>
                      <a:pPr marL="144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ОРОТ в отдаленных и труднодоступных</a:t>
                      </a:r>
                      <a:r>
                        <a:rPr lang="ru-RU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тностях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000" marR="0" lvl="0" indent="0" algn="l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едения об обороте кодов маркировки передаются в течение 30 календарных дней в формате УПД, подписанного с двух сторон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9548100"/>
                  </a:ext>
                </a:extLst>
              </a:tr>
              <a:tr h="1390558">
                <a:tc>
                  <a:txBody>
                    <a:bodyPr/>
                    <a:lstStyle/>
                    <a:p>
                      <a:pPr marL="144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ДАЖА В отдаленных</a:t>
                      </a:r>
                      <a:b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 труднодоступных</a:t>
                      </a:r>
                      <a:r>
                        <a:rPr lang="ru-RU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тностях через КК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000" lvl="0" algn="l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КТ в режиме, не предусматривающем обязательную передачу ФД в налоговые органы и Оператору-ЦРПТ, подача сведений о кодах маркировки в личном кабинете в течение 30 календарных дней. </a:t>
                      </a:r>
                    </a:p>
                    <a:p>
                      <a:pPr marL="180000" lvl="0" algn="l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требованию покупателя продавец обязан предоставить документ, подтверждающий расчет, без указания кода маркировки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584245"/>
                  </a:ext>
                </a:extLst>
              </a:tr>
              <a:tr h="923355">
                <a:tc>
                  <a:txBody>
                    <a:bodyPr/>
                    <a:lstStyle/>
                    <a:p>
                      <a:pPr marL="144000" algn="l" rtl="0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ГРУЗКА ИЗ отдаленных</a:t>
                      </a:r>
                      <a:b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 труднодоступных</a:t>
                      </a:r>
                      <a:r>
                        <a:rPr lang="ru-RU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тностей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000" lvl="0" algn="l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едения об обороте кодов маркировки передаются в течение 30 календарных дней в форме УПД, подписанного обеими сторонами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5645288"/>
                  </a:ext>
                </a:extLst>
              </a:tr>
              <a:tr h="923355">
                <a:tc>
                  <a:txBody>
                    <a:bodyPr/>
                    <a:lstStyle/>
                    <a:p>
                      <a:pPr marL="144000" algn="l" rtl="0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ГРУЗКА В отдаленные</a:t>
                      </a:r>
                      <a:b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 труднодоступные</a:t>
                      </a:r>
                      <a:r>
                        <a:rPr lang="ru-RU" sz="18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стности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0000" lvl="0" algn="l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едения об обороте кодов маркировки передаются в течение 30 календарных дней в форме УПД, подписанного обеими сторонами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7400343"/>
                  </a:ext>
                </a:extLst>
              </a:tr>
            </a:tbl>
          </a:graphicData>
        </a:graphic>
      </p:graphicFrame>
      <p:sp>
        <p:nvSpPr>
          <p:cNvPr id="2" name="Rounded Rectangle 31">
            <a:extLst>
              <a:ext uri="{FF2B5EF4-FFF2-40B4-BE49-F238E27FC236}">
                <a16:creationId xmlns:a16="http://schemas.microsoft.com/office/drawing/2014/main" xmlns="" id="{1BD5C2D4-A71A-5168-0809-DB8B74CB50E2}"/>
              </a:ext>
            </a:extLst>
          </p:cNvPr>
          <p:cNvSpPr/>
          <p:nvPr/>
        </p:nvSpPr>
        <p:spPr>
          <a:xfrm>
            <a:off x="515999" y="360000"/>
            <a:ext cx="11443119" cy="720000"/>
          </a:xfrm>
          <a:prstGeom prst="roundRect">
            <a:avLst>
              <a:gd name="adj" fmla="val 15713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BE71FD0-F15F-51C2-9261-05D0FB5D788F}"/>
              </a:ext>
            </a:extLst>
          </p:cNvPr>
          <p:cNvSpPr txBox="1"/>
          <p:nvPr/>
        </p:nvSpPr>
        <p:spPr>
          <a:xfrm>
            <a:off x="688270" y="477914"/>
            <a:ext cx="11096188" cy="458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Pts val="1000"/>
              <a:buFontTx/>
              <a:buNone/>
              <a:tabLst>
                <a:tab pos="457200" algn="l"/>
              </a:tabLst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СВОДН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xmlns="" val="1880379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C2C9DE1D-9F2E-AC28-15D8-299CF5856FD3}"/>
              </a:ext>
            </a:extLst>
          </p:cNvPr>
          <p:cNvSpPr txBox="1"/>
          <p:nvPr/>
        </p:nvSpPr>
        <p:spPr>
          <a:xfrm>
            <a:off x="734676" y="3395176"/>
            <a:ext cx="41418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Для участия в эксперименте участник направляет заявку на </a:t>
            </a:r>
            <a:r>
              <a:rPr lang="en-US" sz="1600" dirty="0">
                <a:solidFill>
                  <a:srgbClr val="FFFF00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drinks@crpt.ru</a:t>
            </a:r>
            <a:endParaRPr lang="ru-RU" sz="1600" dirty="0">
              <a:solidFill>
                <a:srgbClr val="FFFF00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D70E74A-7E54-9ECF-691B-CB3DF2BA5D16}"/>
              </a:ext>
            </a:extLst>
          </p:cNvPr>
          <p:cNvSpPr txBox="1"/>
          <p:nvPr/>
        </p:nvSpPr>
        <p:spPr>
          <a:xfrm>
            <a:off x="734676" y="4062996"/>
            <a:ext cx="41418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По всем вопросам упакованной воды  </a:t>
            </a:r>
            <a:r>
              <a:rPr lang="en-US" sz="1600" dirty="0">
                <a:solidFill>
                  <a:srgbClr val="FFFF00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water@crpt.ru</a:t>
            </a:r>
            <a:endParaRPr lang="ru-RU" sz="1600" dirty="0">
              <a:solidFill>
                <a:srgbClr val="FFFF00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19266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E3D0BD3DC96C34896F5A413E48494A5" ma:contentTypeVersion="16" ma:contentTypeDescription="Создание документа." ma:contentTypeScope="" ma:versionID="e8386678a9c3dcb7ba970ad771423c82">
  <xsd:schema xmlns:xsd="http://www.w3.org/2001/XMLSchema" xmlns:xs="http://www.w3.org/2001/XMLSchema" xmlns:p="http://schemas.microsoft.com/office/2006/metadata/properties" xmlns:ns2="14c0de77-c0cc-4d76-b766-f17aec7e8faf" xmlns:ns3="e5b2fe6c-a89c-4006-b884-e4d8ffca6dca" targetNamespace="http://schemas.microsoft.com/office/2006/metadata/properties" ma:root="true" ma:fieldsID="f809bcfbacbdcfa6e9409f5c719a2493" ns2:_="" ns3:_="">
    <xsd:import namespace="14c0de77-c0cc-4d76-b766-f17aec7e8faf"/>
    <xsd:import namespace="e5b2fe6c-a89c-4006-b884-e4d8ffca6d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0de77-c0cc-4d76-b766-f17aec7e8f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3c90b2b-7bac-441e-84f8-a9098cc6da53}" ma:internalName="TaxCatchAll" ma:showField="CatchAllData" ma:web="14c0de77-c0cc-4d76-b766-f17aec7e8f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2fe6c-a89c-4006-b884-e4d8ffca6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915919eb-8f89-4ff6-a49a-b61123df4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b2fe6c-a89c-4006-b884-e4d8ffca6dca">
      <Terms xmlns="http://schemas.microsoft.com/office/infopath/2007/PartnerControls"/>
    </lcf76f155ced4ddcb4097134ff3c332f>
    <TaxCatchAll xmlns="14c0de77-c0cc-4d76-b766-f17aec7e8faf" xsi:nil="true"/>
  </documentManagement>
</p:properties>
</file>

<file path=customXml/itemProps1.xml><?xml version="1.0" encoding="utf-8"?>
<ds:datastoreItem xmlns:ds="http://schemas.openxmlformats.org/officeDocument/2006/customXml" ds:itemID="{62EFCD41-D149-420F-99F1-8ECCACD34E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9C6094B-482D-48A2-9900-CC198A2783EA}">
  <ds:schemaRefs>
    <ds:schemaRef ds:uri="14c0de77-c0cc-4d76-b766-f17aec7e8faf"/>
    <ds:schemaRef ds:uri="e5b2fe6c-a89c-4006-b884-e4d8ffca6d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ACAFF75-CD46-4927-99C6-3282058DDBBF}">
  <ds:schemaRefs>
    <ds:schemaRef ds:uri="e5b2fe6c-a89c-4006-b884-e4d8ffca6dca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14c0de77-c0cc-4d76-b766-f17aec7e8faf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7</TotalTime>
  <Words>696</Words>
  <Application>Microsoft Office PowerPoint</Application>
  <PresentationFormat>Произвольный</PresentationFormat>
  <Paragraphs>146</Paragraphs>
  <Slides>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Economist-Lar</cp:lastModifiedBy>
  <cp:revision>28</cp:revision>
  <dcterms:created xsi:type="dcterms:W3CDTF">2023-02-22T10:44:41Z</dcterms:created>
  <dcterms:modified xsi:type="dcterms:W3CDTF">2023-05-30T05:5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3D0BD3DC96C34896F5A413E48494A5</vt:lpwstr>
  </property>
  <property fmtid="{D5CDD505-2E9C-101B-9397-08002B2CF9AE}" pid="3" name="MediaServiceImageTags">
    <vt:lpwstr/>
  </property>
</Properties>
</file>